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02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10:32.993" v="83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10:32.993" v="83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Entgleisungen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4</c:v>
                </c:pt>
                <c:pt idx="1">
                  <c:v>1</c:v>
                </c:pt>
                <c:pt idx="2">
                  <c:v>5</c:v>
                </c:pt>
                <c:pt idx="3">
                  <c:v>0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Zusammenstösse mit Beteiligung von Zugfahrten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8</c:v>
                </c:pt>
                <c:pt idx="1">
                  <c:v>1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5</c:v>
                </c:pt>
                <c:pt idx="7">
                  <c:v>10</c:v>
                </c:pt>
                <c:pt idx="8">
                  <c:v>11</c:v>
                </c:pt>
                <c:pt idx="9">
                  <c:v>10</c:v>
                </c:pt>
                <c:pt idx="1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Unfälle an Bahnübergängen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7</c:v>
                </c:pt>
                <c:pt idx="1">
                  <c:v>11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5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  <c:pt idx="9">
                  <c:v>13</c:v>
                </c:pt>
                <c:pt idx="1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Unfälle von Reisenden oder Dritten im Zugang zur Bahn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Zusammenstösse mit Beteiligung von Zugfahrten pro Million Trassenkilometer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0.11</c:v>
                </c:pt>
                <c:pt idx="1">
                  <c:v>6.0000000000000001E-3</c:v>
                </c:pt>
                <c:pt idx="2">
                  <c:v>0.02</c:v>
                </c:pt>
                <c:pt idx="3">
                  <c:v>0.03</c:v>
                </c:pt>
                <c:pt idx="4">
                  <c:v>0.03</c:v>
                </c:pt>
                <c:pt idx="5">
                  <c:v>0.04</c:v>
                </c:pt>
                <c:pt idx="6">
                  <c:v>0.03</c:v>
                </c:pt>
                <c:pt idx="7">
                  <c:v>0.06</c:v>
                </c:pt>
                <c:pt idx="8">
                  <c:v>0.06</c:v>
                </c:pt>
                <c:pt idx="9">
                  <c:v>0.05</c:v>
                </c:pt>
                <c:pt idx="10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4666744795290797"/>
          <c:h val="0.2063830258829060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7023</cdr:x>
      <cdr:y>0.1253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784" y="392022"/>
          <a:ext cx="709292" cy="2811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/>
            <a:t>Anzahl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7803</cdr:x>
      <cdr:y>0.07302</cdr:y>
    </cdr:from>
    <cdr:to>
      <cdr:x>0.90014</cdr:x>
      <cdr:y>0.1166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966678" y="392022"/>
          <a:ext cx="1250347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050" dirty="0"/>
            <a:t>Anzahl/Mio. </a:t>
          </a:r>
          <a:r>
            <a:rPr lang="de-CH" sz="1050" dirty="0" err="1"/>
            <a:t>Trkm</a:t>
          </a:r>
          <a:r>
            <a:rPr lang="de-CH" sz="1050" dirty="0"/>
            <a:t>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senbahnbetriebsunfäll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235779938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6" y="642085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153BE9F-146D-4148-967A-8AC7616F1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isenbahnbetriebsunfäl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senbahnbetriebsunfälle.</dc:title>
  <dc:creator>Meyer Raphael (KOM-PGA-VSF)</dc:creator>
  <cp:lastModifiedBy>Stefan Weigel (PAR-EPS)</cp:lastModifiedBy>
  <cp:revision>57</cp:revision>
  <dcterms:created xsi:type="dcterms:W3CDTF">2020-09-30T11:00:09Z</dcterms:created>
  <dcterms:modified xsi:type="dcterms:W3CDTF">2024-02-28T13:1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